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129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3" d="100"/>
          <a:sy n="73" d="100"/>
        </p:scale>
        <p:origin x="7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718FA6F-4A48-CA80-EEE3-23989CE8E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/>
          <a:lstStyle/>
          <a:p>
            <a:r>
              <a:rPr lang="en-US" dirty="0"/>
              <a:t>Quote</a:t>
            </a:r>
            <a:endParaRPr lang="en-I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8A94E3-7621-F255-CD95-D517856D192E}"/>
              </a:ext>
            </a:extLst>
          </p:cNvPr>
          <p:cNvSpPr txBox="1"/>
          <p:nvPr/>
        </p:nvSpPr>
        <p:spPr>
          <a:xfrm>
            <a:off x="714375" y="1184967"/>
            <a:ext cx="1492025" cy="468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9850" b="1" dirty="0">
                <a:solidFill>
                  <a:schemeClr val="accent1"/>
                </a:solidFill>
                <a:cs typeface="Arial" pitchFamily="34" charset="0"/>
              </a:rPr>
              <a:t>“</a:t>
            </a:r>
            <a:endParaRPr lang="ko-KR" altLang="en-US" sz="29850" b="1" dirty="0">
              <a:solidFill>
                <a:schemeClr val="accent1"/>
              </a:solidFill>
              <a:cs typeface="Arial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FC06BED-CFB2-B527-E495-ED937F6FEF97}"/>
              </a:ext>
            </a:extLst>
          </p:cNvPr>
          <p:cNvGrpSpPr/>
          <p:nvPr/>
        </p:nvGrpSpPr>
        <p:grpSpPr>
          <a:xfrm>
            <a:off x="714375" y="1998652"/>
            <a:ext cx="16871950" cy="6960061"/>
            <a:chOff x="714375" y="1998652"/>
            <a:chExt cx="16871950" cy="696006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7294A6-BD3A-3ED2-B98B-CCA18DB84E30}"/>
                </a:ext>
              </a:extLst>
            </p:cNvPr>
            <p:cNvSpPr txBox="1"/>
            <p:nvPr/>
          </p:nvSpPr>
          <p:spPr>
            <a:xfrm>
              <a:off x="3163992" y="3118188"/>
              <a:ext cx="11893343" cy="1938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30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F8B5524-3D18-4B08-A11D-412EFBC575A1}"/>
                </a:ext>
              </a:extLst>
            </p:cNvPr>
            <p:cNvSpPr txBox="1"/>
            <p:nvPr/>
          </p:nvSpPr>
          <p:spPr>
            <a:xfrm rot="10800000">
              <a:off x="16014926" y="1998652"/>
              <a:ext cx="1492025" cy="468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985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</a:t>
              </a:r>
              <a:endParaRPr lang="ko-KR" altLang="en-US" sz="298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AEDBA04-73FC-3816-D7C1-F50D945B71D6}"/>
                </a:ext>
              </a:extLst>
            </p:cNvPr>
            <p:cNvGrpSpPr/>
            <p:nvPr/>
          </p:nvGrpSpPr>
          <p:grpSpPr>
            <a:xfrm>
              <a:off x="714375" y="5882281"/>
              <a:ext cx="16871950" cy="3076432"/>
              <a:chOff x="714375" y="5882281"/>
              <a:chExt cx="16871950" cy="3076432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372018A-CF4D-AA61-E6CF-0C2FC5A9A264}"/>
                  </a:ext>
                </a:extLst>
              </p:cNvPr>
              <p:cNvSpPr/>
              <p:nvPr/>
            </p:nvSpPr>
            <p:spPr>
              <a:xfrm>
                <a:off x="714375" y="6679730"/>
                <a:ext cx="16871950" cy="2278983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73D0892E-8D31-DB20-D4EA-86480A5E957B}"/>
                  </a:ext>
                </a:extLst>
              </p:cNvPr>
              <p:cNvSpPr/>
              <p:nvPr/>
            </p:nvSpPr>
            <p:spPr>
              <a:xfrm>
                <a:off x="8235198" y="5882281"/>
                <a:ext cx="1830305" cy="1830305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GB" sz="3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hoto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71C0150-86E8-F011-F761-A9384AD7E9E6}"/>
                  </a:ext>
                </a:extLst>
              </p:cNvPr>
              <p:cNvSpPr txBox="1"/>
              <p:nvPr/>
            </p:nvSpPr>
            <p:spPr>
              <a:xfrm>
                <a:off x="3548084" y="8011350"/>
                <a:ext cx="11204532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30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me and Initials</a:t>
                </a:r>
              </a:p>
            </p:txBody>
          </p:sp>
        </p:grp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3AF977-B567-35C0-C8D5-0E0873E4A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462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1</TotalTime>
  <Words>54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Quo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8</cp:revision>
  <dcterms:created xsi:type="dcterms:W3CDTF">2006-08-16T00:00:00Z</dcterms:created>
  <dcterms:modified xsi:type="dcterms:W3CDTF">2025-10-06T08:54:19Z</dcterms:modified>
  <cp:category/>
  <dc:identifier>DAGkDf5R9EM</dc:identifier>
</cp:coreProperties>
</file>